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31.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33.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ags/tag34.xml" ContentType="application/vnd.openxmlformats-officedocument.presentationml.tags+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35.xml" ContentType="application/vnd.openxmlformats-officedocument.presentationml.tags+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ags/tag36.xml" ContentType="application/vnd.openxmlformats-officedocument.presentationml.tags+xml"/>
  <Override PartName="/ppt/charts/chart8.xml" ContentType="application/vnd.openxmlformats-officedocument.drawingml.chart+xml"/>
  <Override PartName="/ppt/tags/tag37.xml" ContentType="application/vnd.openxmlformats-officedocument.presentationml.tags+xml"/>
  <Override PartName="/ppt/charts/chart9.xml" ContentType="application/vnd.openxmlformats-officedocument.drawingml.chart+xml"/>
  <Override PartName="/ppt/tags/tag38.xml" ContentType="application/vnd.openxmlformats-officedocument.presentationml.tags+xml"/>
  <Override PartName="/ppt/notesSlides/notesSlide6.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41.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42.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0"/>
  </p:notesMasterIdLst>
  <p:sldIdLst>
    <p:sldId id="2147378824" r:id="rId5"/>
    <p:sldId id="2147475134" r:id="rId6"/>
    <p:sldId id="2147475146" r:id="rId7"/>
    <p:sldId id="2147475147" r:id="rId8"/>
    <p:sldId id="2147477347" r:id="rId9"/>
    <p:sldId id="2147477346" r:id="rId10"/>
    <p:sldId id="2147472910" r:id="rId11"/>
    <p:sldId id="2147475118" r:id="rId12"/>
    <p:sldId id="2147473876" r:id="rId13"/>
    <p:sldId id="2147475133" r:id="rId14"/>
    <p:sldId id="2147477358" r:id="rId15"/>
    <p:sldId id="2147477359" r:id="rId16"/>
    <p:sldId id="2147477360" r:id="rId17"/>
    <p:sldId id="2147477361" r:id="rId18"/>
    <p:sldId id="2147477362" r:id="rId1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5" d="100"/>
          <a:sy n="85" d="100"/>
        </p:scale>
        <p:origin x="966" y="84"/>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phie  ZIMMERMANN" userId="a3ccab47-c860-43ce-9c7d-ef7907b0df29" providerId="ADAL" clId="{4314325D-4433-4527-A5B8-00254240609C}"/>
    <pc:docChg chg="custSel modSld">
      <pc:chgData name="Sophie  ZIMMERMANN" userId="a3ccab47-c860-43ce-9c7d-ef7907b0df29" providerId="ADAL" clId="{4314325D-4433-4527-A5B8-00254240609C}" dt="2024-11-01T08:17:47.742" v="298" actId="1037"/>
      <pc:docMkLst>
        <pc:docMk/>
      </pc:docMkLst>
      <pc:sldChg chg="delSp modSp mod">
        <pc:chgData name="Sophie  ZIMMERMANN" userId="a3ccab47-c860-43ce-9c7d-ef7907b0df29" providerId="ADAL" clId="{4314325D-4433-4527-A5B8-00254240609C}" dt="2024-11-01T08:17:47.742" v="298" actId="1037"/>
        <pc:sldMkLst>
          <pc:docMk/>
          <pc:sldMk cId="435966349" sldId="2147475142"/>
        </pc:sldMkLst>
        <pc:spChg chg="mod">
          <ac:chgData name="Sophie  ZIMMERMANN" userId="a3ccab47-c860-43ce-9c7d-ef7907b0df29" providerId="ADAL" clId="{4314325D-4433-4527-A5B8-00254240609C}" dt="2024-11-01T08:17:47.742" v="298" actId="1037"/>
          <ac:spMkLst>
            <pc:docMk/>
            <pc:sldMk cId="435966349" sldId="2147475142"/>
            <ac:spMk id="7" creationId="{7DAAFD34-D311-196F-D318-B7CBB2FC55F1}"/>
          </ac:spMkLst>
        </pc:spChg>
        <pc:spChg chg="mod">
          <ac:chgData name="Sophie  ZIMMERMANN" userId="a3ccab47-c860-43ce-9c7d-ef7907b0df29" providerId="ADAL" clId="{4314325D-4433-4527-A5B8-00254240609C}" dt="2024-11-01T08:09:44.237" v="264" actId="3064"/>
          <ac:spMkLst>
            <pc:docMk/>
            <pc:sldMk cId="435966349" sldId="2147475142"/>
            <ac:spMk id="11" creationId="{BFC1BC53-B2B2-88E8-FF22-46D4B5DF9712}"/>
          </ac:spMkLst>
        </pc:spChg>
        <pc:spChg chg="del">
          <ac:chgData name="Sophie  ZIMMERMANN" userId="a3ccab47-c860-43ce-9c7d-ef7907b0df29" providerId="ADAL" clId="{4314325D-4433-4527-A5B8-00254240609C}" dt="2024-11-01T08:06:30.393" v="36" actId="478"/>
          <ac:spMkLst>
            <pc:docMk/>
            <pc:sldMk cId="435966349" sldId="2147475142"/>
            <ac:spMk id="13" creationId="{5BF3929D-D92C-F9A2-4B40-D265B6BB67FB}"/>
          </ac:spMkLst>
        </pc:spChg>
        <pc:graphicFrameChg chg="mod">
          <ac:chgData name="Sophie  ZIMMERMANN" userId="a3ccab47-c860-43ce-9c7d-ef7907b0df29" providerId="ADAL" clId="{4314325D-4433-4527-A5B8-00254240609C}" dt="2024-11-01T08:08:59.352" v="211" actId="1038"/>
          <ac:graphicFrameMkLst>
            <pc:docMk/>
            <pc:sldMk cId="435966349" sldId="2147475142"/>
            <ac:graphicFrameMk id="3" creationId="{1DC37342-75B7-517B-0FBA-CC602F84C1AA}"/>
          </ac:graphicFrameMkLst>
        </pc:graphicFrameChg>
        <pc:graphicFrameChg chg="mod">
          <ac:chgData name="Sophie  ZIMMERMANN" userId="a3ccab47-c860-43ce-9c7d-ef7907b0df29" providerId="ADAL" clId="{4314325D-4433-4527-A5B8-00254240609C}" dt="2024-11-01T08:06:27.261" v="35" actId="207"/>
          <ac:graphicFrameMkLst>
            <pc:docMk/>
            <pc:sldMk cId="435966349" sldId="2147475142"/>
            <ac:graphicFrameMk id="6" creationId="{4BD8E265-B158-1A09-6C46-4182AF3CD473}"/>
          </ac:graphicFrameMkLst>
        </pc:graphicFrameChg>
      </pc:sldChg>
      <pc:sldChg chg="addSp delSp modSp mod">
        <pc:chgData name="Sophie  ZIMMERMANN" userId="a3ccab47-c860-43ce-9c7d-ef7907b0df29" providerId="ADAL" clId="{4314325D-4433-4527-A5B8-00254240609C}" dt="2024-11-01T08:09:34.754" v="261" actId="3064"/>
        <pc:sldMkLst>
          <pc:docMk/>
          <pc:sldMk cId="388833020" sldId="2147477354"/>
        </pc:sldMkLst>
        <pc:spChg chg="add mod">
          <ac:chgData name="Sophie  ZIMMERMANN" userId="a3ccab47-c860-43ce-9c7d-ef7907b0df29" providerId="ADAL" clId="{4314325D-4433-4527-A5B8-00254240609C}" dt="2024-11-01T08:09:34.754" v="261" actId="3064"/>
          <ac:spMkLst>
            <pc:docMk/>
            <pc:sldMk cId="388833020" sldId="2147477354"/>
            <ac:spMk id="6" creationId="{3FE029EB-0726-DE25-4BB2-E63DB2FC61E7}"/>
          </ac:spMkLst>
        </pc:spChg>
        <pc:spChg chg="mod">
          <ac:chgData name="Sophie  ZIMMERMANN" userId="a3ccab47-c860-43ce-9c7d-ef7907b0df29" providerId="ADAL" clId="{4314325D-4433-4527-A5B8-00254240609C}" dt="2024-11-01T08:03:17.874" v="32" actId="1038"/>
          <ac:spMkLst>
            <pc:docMk/>
            <pc:sldMk cId="388833020" sldId="2147477354"/>
            <ac:spMk id="10" creationId="{2F21E4D4-BECB-5A87-4711-14032D7492F3}"/>
          </ac:spMkLst>
        </pc:spChg>
        <pc:spChg chg="mod">
          <ac:chgData name="Sophie  ZIMMERMANN" userId="a3ccab47-c860-43ce-9c7d-ef7907b0df29" providerId="ADAL" clId="{4314325D-4433-4527-A5B8-00254240609C}" dt="2024-11-01T08:03:15.788" v="30" actId="1038"/>
          <ac:spMkLst>
            <pc:docMk/>
            <pc:sldMk cId="388833020" sldId="2147477354"/>
            <ac:spMk id="11" creationId="{29596734-6143-084A-A989-D15ABEC33874}"/>
          </ac:spMkLst>
        </pc:spChg>
        <pc:spChg chg="mod">
          <ac:chgData name="Sophie  ZIMMERMANN" userId="a3ccab47-c860-43ce-9c7d-ef7907b0df29" providerId="ADAL" clId="{4314325D-4433-4527-A5B8-00254240609C}" dt="2024-11-01T08:02:52.740" v="1" actId="20577"/>
          <ac:spMkLst>
            <pc:docMk/>
            <pc:sldMk cId="388833020" sldId="2147477354"/>
            <ac:spMk id="12" creationId="{6E8C0A4F-20D1-C9BE-33B2-1536980F5F2B}"/>
          </ac:spMkLst>
        </pc:spChg>
        <pc:spChg chg="del">
          <ac:chgData name="Sophie  ZIMMERMANN" userId="a3ccab47-c860-43ce-9c7d-ef7907b0df29" providerId="ADAL" clId="{4314325D-4433-4527-A5B8-00254240609C}" dt="2024-11-01T08:07:25.977" v="60" actId="478"/>
          <ac:spMkLst>
            <pc:docMk/>
            <pc:sldMk cId="388833020" sldId="2147477354"/>
            <ac:spMk id="13" creationId="{57F3CE99-2D24-4C4A-2381-79818FEE40AF}"/>
          </ac:spMkLst>
        </pc:spChg>
        <pc:graphicFrameChg chg="mod">
          <ac:chgData name="Sophie  ZIMMERMANN" userId="a3ccab47-c860-43ce-9c7d-ef7907b0df29" providerId="ADAL" clId="{4314325D-4433-4527-A5B8-00254240609C}" dt="2024-11-01T08:09:04.221" v="229" actId="1038"/>
          <ac:graphicFrameMkLst>
            <pc:docMk/>
            <pc:sldMk cId="388833020" sldId="2147477354"/>
            <ac:graphicFrameMk id="3" creationId="{470EE70F-4EB3-F5FC-7DA9-A5FD61BBAF43}"/>
          </ac:graphicFrameMkLst>
        </pc:graphicFrameChg>
        <pc:graphicFrameChg chg="mod">
          <ac:chgData name="Sophie  ZIMMERMANN" userId="a3ccab47-c860-43ce-9c7d-ef7907b0df29" providerId="ADAL" clId="{4314325D-4433-4527-A5B8-00254240609C}" dt="2024-11-01T08:08:37.368" v="136" actId="1037"/>
          <ac:graphicFrameMkLst>
            <pc:docMk/>
            <pc:sldMk cId="388833020" sldId="2147477354"/>
            <ac:graphicFrameMk id="14" creationId="{EB84C0ED-1820-DC7F-C3F8-BA9338BED815}"/>
          </ac:graphicFrameMkLst>
        </pc:graphicFrameChg>
      </pc:sldChg>
    </pc:docChg>
  </pc:docChgLst>
  <pc:docChgLst>
    <pc:chgData name="Neriman EL HADIDI" userId="4b24840c-84b3-44ac-9131-ca3568cb403b" providerId="ADAL" clId="{49AFDB74-6FD9-4071-ADAD-4F61DD009A87}"/>
    <pc:docChg chg="delMainMaster">
      <pc:chgData name="Neriman EL HADIDI" userId="4b24840c-84b3-44ac-9131-ca3568cb403b" providerId="ADAL" clId="{49AFDB74-6FD9-4071-ADAD-4F61DD009A87}" dt="2024-11-01T08:58:09.464" v="1" actId="2696"/>
      <pc:docMkLst>
        <pc:docMk/>
      </pc:docMkLst>
      <pc:sldMasterChg chg="del">
        <pc:chgData name="Neriman EL HADIDI" userId="4b24840c-84b3-44ac-9131-ca3568cb403b" providerId="ADAL" clId="{49AFDB74-6FD9-4071-ADAD-4F61DD009A87}" dt="2024-11-01T08:57:51.102" v="0" actId="2696"/>
        <pc:sldMasterMkLst>
          <pc:docMk/>
          <pc:sldMasterMk cId="823099819" sldId="2147483792"/>
        </pc:sldMasterMkLst>
      </pc:sldMasterChg>
      <pc:sldMasterChg chg="del">
        <pc:chgData name="Neriman EL HADIDI" userId="4b24840c-84b3-44ac-9131-ca3568cb403b" providerId="ADAL" clId="{49AFDB74-6FD9-4071-ADAD-4F61DD009A87}" dt="2024-11-01T08:58:09.464" v="1" actId="2696"/>
        <pc:sldMasterMkLst>
          <pc:docMk/>
          <pc:sldMasterMk cId="2459112471" sldId="2147483842"/>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797C9D6-815B-43C5-BE2B-3B5CEF8608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7B8CB8-ACE2-4AC3-B832-E42DE2898E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F372E08-54F1-4E6F-8650-677F91F4C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6F4A51-6D75-415E-9141-19107FAF1E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F7761B-3DF8-401E-9251-DC75CC36A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85E0D3-23BC-45ED-95F3-F1FC676C2D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998256B-B7DF-43FC-B8BB-7D117F32B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07D1CBA-D422-408D-A77B-09761EA36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769DB9A-EF4D-45B4-8B75-47FDE2D59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39D574-E557-4860-943E-A67746BB4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D01453-DA28-4FBF-9E06-C6AEF4138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5FA302-6403-47AF-95B3-237B143B9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BB335E-CB0C-4EC7-AE34-B1CC4F83A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5BBEF4B-E386-46BD-B439-D1F2AD859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ED340CD-D281-4E37-BBFE-672A324B8B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4D49A1E-B600-43E9-B726-0ADFD812D7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9BD17D-70A7-4C73-BE74-090108E34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CCA6A4-6DDD-4E60-A749-84D4B4A464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8984EA-3425-43FC-B1A0-5C4FA37EF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9E582E-085F-458F-98F1-C2F77A722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2700DDC-5B5C-4219-8C8E-8643D00793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2AFD3A0-9358-4702-91C4-70D061E9B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8535E25-1632-4F91-9A7D-276B24D21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C0C22BD-9A0F-472D-A7B2-032CDDCA6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AAA4BC7-C68C-41D4-A0A7-B9E4AA3C38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8B416D1-44A2-44A1-818B-E1EFE9D6B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62AFEFDC-F13B-42C1-B79A-20B7D06D4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31A0ECB4-FF9F-451E-96F8-100828211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E986394-6BB1-44CF-9A35-775783A62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8D92C086-29C6-4FBB-A4CE-C44B4F4DE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1C730405-CA9F-484D-9006-DE8E8F395E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2F6A1E3E-5090-4F85-8441-D558F8E3E1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912215-FA19-4824-A53B-2EBEE0A0A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FD39AC-F3E5-48D0-800E-0C79193148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D7ACF9D-59E3-49A1-9CAA-52B8CC189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46B844-6597-457D-AE30-E90E648B18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8FFFF3-E55A-468C-B383-2D5C99A85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E239396-3AEC-4408-8683-4A033101F7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E54AE4E-0440-4600-A66D-CD59AC6C5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10BB540-8408-4671-9770-6685A3F4A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7240CBB6-788E-41CA-810F-DD4AB8E845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B9EA8B46-C9C7-48B6-A04D-6717D0BEF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4916336A-8E05-482E-8F5D-D35B88066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16E75AB-BCA0-45CE-B0A0-A37C01286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6561D2F-028F-4734-972F-DF241C5AB3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C4F6064-C029-4E0C-9759-1BB90B618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67525DD8-F2FA-401B-A214-89F362EF1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FF482008-C4B5-4861-B802-F61E6649A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1B2B455-8997-4F0E-A487-E1A29EBE6D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5CBBAB1-AC65-4676-B334-F09504E95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F45D4E32-1A1D-460F-B294-E34693826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F44955D-74B2-4F2B-A319-A4ADD1E98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0AF145BC-08EC-4379-826C-9CA40EB7A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5F357C3E-97F4-489A-9167-CA622749E7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29797F80-6B1B-4F19-853F-CF0143810C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CDFDBF09-8EC4-4619-82F3-037A775E97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B5050A-2013-43DD-9CF7-35F8801C6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3C0D8E-35AE-4FAD-82D8-B6AF80241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59D95E1-0B6E-408B-A29B-D38286523E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FD58B3-BCE9-4973-A4A0-C4F34B12A5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D53C251-2A77-4709-938A-9A7CF0D6B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2BF1A06-4F34-4E7E-AE18-BF37033BD5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49C90BE-5083-48AC-B6F5-801EFC1607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64EF01C-F672-4024-B9F6-88B1EEB6D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CAC6FA6-24C0-42FB-A52F-44B16835B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4B3D977-481A-440F-BAC5-866051761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56351001-E52B-408B-96C4-4C38EA2DC1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26FD35F9-2185-491B-8AB0-7FC5C6D13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94AFA453-93E6-4D00-A84C-BE16C3B0E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BB2646CC-ED0D-45AF-9D3A-E70ECEA18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5CA3B10D-8D1E-4850-8E27-2973B223B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E811D03-5394-43BD-8B72-3ECC627E74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chemeClr val="bg2">
                  <a:lumMod val="90000"/>
                </a:schemeClr>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CBEAE7"/>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CBEAE7"/>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CBEAE7"/>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CBEAE7"/>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CBEAE7"/>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CBEAE7"/>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CBEAE7"/>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CBEAE7"/>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CBEAE7"/>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CBEAE7"/>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E6E69708-95AE-4A16-B846-639B9E3EF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9C64940F-3A68-4C42-9FE9-42002C0DB0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C48FAFBD-247A-42B2-9114-B15E1ACE5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EC7F6C43-BE5B-4387-82FF-024124DB4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234EC4EE-163D-4B08-9CA8-D6AE0C600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84EFDA0F-FFF2-4A2F-8BAC-1051855B3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0E7DF5BB-EFD3-42F1-9F06-E2D9FDE6C8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DECAE6ED-EB8C-423D-BEDA-BE000D4EB8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E09D7996-43E0-4F3D-B8CD-96F6FD0FCF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B628AF78-3418-43C0-80A5-2A65599CAA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A8AFC5A7-0ABF-4B96-AA6C-4487E32FC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A422BEF5-BA32-4F17-8DD8-8956CE10B2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549BEFA5-EE2E-4B79-B1EE-29CB6DBFC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7FB4430E-090B-4786-9C99-379394444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EE6A88E8-7D88-4B35-BC1A-B20DA369A7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68EDF44D-6B65-4062-96AA-391E6D71C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chemeClr val="bg2">
                  <a:lumMod val="90000"/>
                </a:schemeClr>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CBEAE7"/>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CBEAE7"/>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CBEAE7"/>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CBEAE7"/>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CBEAE7"/>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CBEAE7"/>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CBEAE7"/>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CBEAE7"/>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4/13/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4/1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4/1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4/1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4/1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4/1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4/1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4/1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4/1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4/13/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3/0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4/1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3/0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3/0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3/0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4/1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4/13/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4/1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4/1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4/1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4/1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4/13/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4/1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4/13/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31.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oleObject" Target="../embeddings/oleObject27.bin"/><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4.xml"/><Relationship Id="rId5" Type="http://schemas.openxmlformats.org/officeDocument/2006/relationships/image" Target="../media/image28.emf"/><Relationship Id="rId4" Type="http://schemas.openxmlformats.org/officeDocument/2006/relationships/oleObject" Target="../embeddings/oleObject3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30.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7.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8.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4/13/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923558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4/1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75611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13/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476850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4/13/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2154290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4/13/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4421973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4/13/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4714550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4/13/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474365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4/13/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987209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4/1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048637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4/13/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337165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4/1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93238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4/1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73124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4/1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514206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4/13/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291237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4/13/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138352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TotalTime>
  <Words>1536</Words>
  <Application>Microsoft Office PowerPoint</Application>
  <PresentationFormat>On-screen Show (16:9)</PresentationFormat>
  <Paragraphs>532</Paragraphs>
  <Slides>15</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5"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Sector/Segment Leadership Table (Replace with SO WHAT)</vt:lpstr>
      <vt:lpstr>Segment Leadership Analysis (Replace with So What)</vt:lpstr>
      <vt:lpstr>Sectors Leadership Analysis (Replace with So What)</vt:lpstr>
      <vt:lpstr>Avg Price/Vol Comparison (Replace with SO WHAT)</vt:lpstr>
      <vt:lpstr>Shelf Price/Vol Comparison (Replace with SO WHAT)</vt:lpstr>
      <vt:lpstr>Price Point Distribution Analysis by product (Replace with SO WHAT)</vt:lpstr>
      <vt:lpstr>Price Point Comparison Analysis by Product (Replace with SO WHAT)</vt:lpstr>
      <vt:lpstr>Price Point Distribution Analysis by brand (Replace with SO WHAT)</vt:lpstr>
      <vt:lpstr>Price Point Distribution by brand by Sector (Replace with SO WHAT)</vt:lpstr>
      <vt:lpstr>Price Correlation Analysis P3Y (Replace with SO WHAT)</vt:lpstr>
      <vt:lpstr>Price Positioning Summary (Replace with SO WHAT)</vt:lpstr>
      <vt:lpstr>Price Positioning Summary (Replace with SO WHAT)</vt:lpstr>
      <vt:lpstr>Price Positioning Summary (Replace with SO WHAT)</vt:lpstr>
      <vt:lpstr>Price Positioning Summary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35</cp:revision>
  <dcterms:created xsi:type="dcterms:W3CDTF">2024-07-05T14:56:51Z</dcterms:created>
  <dcterms:modified xsi:type="dcterms:W3CDTF">2025-04-13T14:3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